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sldIdLst>
    <p:sldId id="256" r:id="rId2"/>
    <p:sldId id="257" r:id="rId3"/>
  </p:sldIdLst>
  <p:sldSz cx="9144000" cy="9144000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3F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94"/>
  </p:normalViewPr>
  <p:slideViewPr>
    <p:cSldViewPr snapToGrid="0">
      <p:cViewPr>
        <p:scale>
          <a:sx n="95" d="100"/>
          <a:sy n="95" d="100"/>
        </p:scale>
        <p:origin x="2024" y="-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96484"/>
            <a:ext cx="77724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4802717"/>
            <a:ext cx="6858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D2FB2-3C26-384C-BC91-E8A41BCEC01C}" type="datetimeFigureOut">
              <a:rPr lang="en-US" smtClean="0"/>
              <a:t>3/9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FD183-4F9E-B743-8603-D341862ED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0474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D2FB2-3C26-384C-BC91-E8A41BCEC01C}" type="datetimeFigureOut">
              <a:rPr lang="en-US" smtClean="0"/>
              <a:t>3/9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FD183-4F9E-B743-8603-D341862ED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4797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486834"/>
            <a:ext cx="1971675" cy="77491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486834"/>
            <a:ext cx="5800725" cy="77491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D2FB2-3C26-384C-BC91-E8A41BCEC01C}" type="datetimeFigureOut">
              <a:rPr lang="en-US" smtClean="0"/>
              <a:t>3/9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FD183-4F9E-B743-8603-D341862ED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60022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D2FB2-3C26-384C-BC91-E8A41BCEC01C}" type="datetimeFigureOut">
              <a:rPr lang="en-US" smtClean="0"/>
              <a:t>3/9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FD183-4F9E-B743-8603-D341862ED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668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2279653"/>
            <a:ext cx="78867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6119286"/>
            <a:ext cx="78867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D2FB2-3C26-384C-BC91-E8A41BCEC01C}" type="datetimeFigureOut">
              <a:rPr lang="en-US" smtClean="0"/>
              <a:t>3/9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FD183-4F9E-B743-8603-D341862ED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5261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2434167"/>
            <a:ext cx="3886200" cy="58017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2434167"/>
            <a:ext cx="3886200" cy="58017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D2FB2-3C26-384C-BC91-E8A41BCEC01C}" type="datetimeFigureOut">
              <a:rPr lang="en-US" smtClean="0"/>
              <a:t>3/9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FD183-4F9E-B743-8603-D341862ED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9033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86836"/>
            <a:ext cx="7886700" cy="17674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2241551"/>
            <a:ext cx="3868340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3340100"/>
            <a:ext cx="3868340" cy="49127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2241551"/>
            <a:ext cx="3887391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3340100"/>
            <a:ext cx="3887391" cy="49127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D2FB2-3C26-384C-BC91-E8A41BCEC01C}" type="datetimeFigureOut">
              <a:rPr lang="en-US" smtClean="0"/>
              <a:t>3/9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FD183-4F9E-B743-8603-D341862ED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8812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D2FB2-3C26-384C-BC91-E8A41BCEC01C}" type="datetimeFigureOut">
              <a:rPr lang="en-US" smtClean="0"/>
              <a:t>3/9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FD183-4F9E-B743-8603-D341862ED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979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D2FB2-3C26-384C-BC91-E8A41BCEC01C}" type="datetimeFigureOut">
              <a:rPr lang="en-US" smtClean="0"/>
              <a:t>3/9/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FD183-4F9E-B743-8603-D341862ED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661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609600"/>
            <a:ext cx="2949178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316569"/>
            <a:ext cx="4629150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743200"/>
            <a:ext cx="2949178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D2FB2-3C26-384C-BC91-E8A41BCEC01C}" type="datetimeFigureOut">
              <a:rPr lang="en-US" smtClean="0"/>
              <a:t>3/9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FD183-4F9E-B743-8603-D341862ED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3865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609600"/>
            <a:ext cx="2949178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1316569"/>
            <a:ext cx="4629150" cy="6498167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743200"/>
            <a:ext cx="2949178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D2FB2-3C26-384C-BC91-E8A41BCEC01C}" type="datetimeFigureOut">
              <a:rPr lang="en-US" smtClean="0"/>
              <a:t>3/9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FD183-4F9E-B743-8603-D341862ED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6381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9B089FE-75CB-AA56-A321-4B7CA8FBD4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137556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486836"/>
            <a:ext cx="7886700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2434167"/>
            <a:ext cx="7886700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8475136"/>
            <a:ext cx="2057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FD2FB2-3C26-384C-BC91-E8A41BCEC01C}" type="datetimeFigureOut">
              <a:rPr lang="en-US" smtClean="0"/>
              <a:t>3/9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8475136"/>
            <a:ext cx="30861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8475136"/>
            <a:ext cx="2057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CFD183-4F9E-B743-8603-D341862ED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756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3D6793-5F51-A2EA-DD12-A8380DAB7B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5860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1C51167D-4B11-D4C5-4A61-8940892D9D53}"/>
              </a:ext>
            </a:extLst>
          </p:cNvPr>
          <p:cNvGrpSpPr/>
          <p:nvPr/>
        </p:nvGrpSpPr>
        <p:grpSpPr>
          <a:xfrm>
            <a:off x="1696064" y="1607574"/>
            <a:ext cx="5501147" cy="5501147"/>
            <a:chOff x="1489587" y="2271251"/>
            <a:chExt cx="5501147" cy="5501147"/>
          </a:xfrm>
        </p:grpSpPr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606EABDE-E5AD-38D4-298A-28D70F275BCC}"/>
                </a:ext>
              </a:extLst>
            </p:cNvPr>
            <p:cNvSpPr/>
            <p:nvPr/>
          </p:nvSpPr>
          <p:spPr>
            <a:xfrm>
              <a:off x="1489587" y="2271251"/>
              <a:ext cx="5501147" cy="5501147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D3F7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1BC3D00-BA88-B81F-F265-20F4D24393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7335" t="17313" r="17332" b="17322"/>
            <a:stretch/>
          </p:blipFill>
          <p:spPr>
            <a:xfrm>
              <a:off x="1755057" y="2536722"/>
              <a:ext cx="4970207" cy="497020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43909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E77E41-DC1A-20D8-A8B3-09CCC22A70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8330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C37B96D4-8930-F649-42D0-822007175DB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3346"/>
          <a:stretch/>
        </p:blipFill>
        <p:spPr>
          <a:xfrm>
            <a:off x="2540000" y="317500"/>
            <a:ext cx="3928035" cy="850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2892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18</TotalTime>
  <Words>0</Words>
  <Application>Microsoft Macintosh PowerPoint</Application>
  <PresentationFormat>Custom</PresentationFormat>
  <Paragraphs>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rdan, Paul</dc:creator>
  <cp:lastModifiedBy>Jordan, Paul</cp:lastModifiedBy>
  <cp:revision>2</cp:revision>
  <dcterms:created xsi:type="dcterms:W3CDTF">2023-03-09T20:18:32Z</dcterms:created>
  <dcterms:modified xsi:type="dcterms:W3CDTF">2023-03-09T20:39:01Z</dcterms:modified>
</cp:coreProperties>
</file>